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1" r:id="rId1"/>
  </p:sldMasterIdLst>
  <p:notesMasterIdLst>
    <p:notesMasterId r:id="rId11"/>
  </p:notesMasterIdLst>
  <p:sldIdLst>
    <p:sldId id="257" r:id="rId2"/>
    <p:sldId id="271" r:id="rId3"/>
    <p:sldId id="282" r:id="rId4"/>
    <p:sldId id="284" r:id="rId5"/>
    <p:sldId id="279" r:id="rId6"/>
    <p:sldId id="286" r:id="rId7"/>
    <p:sldId id="288" r:id="rId8"/>
    <p:sldId id="283" r:id="rId9"/>
    <p:sldId id="287" r:id="rId10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6326A5-3DC0-4F3B-8E5E-0168E2F29712}" v="1" dt="2020-01-30T14:35:41.2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1250" autoAdjust="0"/>
    <p:restoredTop sz="86429" autoAdjust="0"/>
  </p:normalViewPr>
  <p:slideViewPr>
    <p:cSldViewPr>
      <p:cViewPr varScale="1">
        <p:scale>
          <a:sx n="82" d="100"/>
          <a:sy n="82" d="100"/>
        </p:scale>
        <p:origin x="1910" y="7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2" d="100"/>
        <a:sy n="9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 Claes" userId="d64208f3-0076-4064-b6ac-7d8ee9dc279f" providerId="ADAL" clId="{1F6326A5-3DC0-4F3B-8E5E-0168E2F29712}"/>
    <pc:docChg chg="modSld">
      <pc:chgData name="Jo Claes" userId="d64208f3-0076-4064-b6ac-7d8ee9dc279f" providerId="ADAL" clId="{1F6326A5-3DC0-4F3B-8E5E-0168E2F29712}" dt="2020-01-30T14:35:41.295" v="0"/>
      <pc:docMkLst>
        <pc:docMk/>
      </pc:docMkLst>
      <pc:sldChg chg="modSp">
        <pc:chgData name="Jo Claes" userId="d64208f3-0076-4064-b6ac-7d8ee9dc279f" providerId="ADAL" clId="{1F6326A5-3DC0-4F3B-8E5E-0168E2F29712}" dt="2020-01-30T14:35:41.295" v="0"/>
        <pc:sldMkLst>
          <pc:docMk/>
          <pc:sldMk cId="3408130515" sldId="283"/>
        </pc:sldMkLst>
        <pc:spChg chg="mod">
          <ac:chgData name="Jo Claes" userId="d64208f3-0076-4064-b6ac-7d8ee9dc279f" providerId="ADAL" clId="{1F6326A5-3DC0-4F3B-8E5E-0168E2F29712}" dt="2020-01-30T14:35:41.295" v="0"/>
          <ac:spMkLst>
            <pc:docMk/>
            <pc:sldMk cId="3408130515" sldId="283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B65D0D-69CC-462A-8475-FC18CE11B484}" type="datetimeFigureOut">
              <a:rPr lang="fr-FR" smtClean="0"/>
              <a:pPr/>
              <a:t>30/01/2020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54649C-BB8F-48FC-8C06-FD9FB253CC75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8108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AD31F2-D280-4941-9FB1-46DCA8BCB0E7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2727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4649C-BB8F-48FC-8C06-FD9FB253CC75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5130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54649C-BB8F-48FC-8C06-FD9FB253CC75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51303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947417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597788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10475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0" y="285376"/>
            <a:ext cx="4250765" cy="155389"/>
          </a:xfrm>
          <a:prstGeom prst="rect">
            <a:avLst/>
          </a:prstGeom>
        </p:spPr>
        <p:txBody>
          <a:bodyPr lIns="0" tIns="0" bIns="0"/>
          <a:lstStyle>
            <a:lvl1pPr algn="l">
              <a:defRPr sz="6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"/>
          </p:nvPr>
        </p:nvSpPr>
        <p:spPr>
          <a:xfrm>
            <a:off x="361950" y="937315"/>
            <a:ext cx="7795079" cy="2918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200" b="0">
                <a:solidFill>
                  <a:srgbClr val="3A465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61949" y="1490101"/>
            <a:ext cx="7795079" cy="26987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440"/>
              </a:lnSpc>
              <a:spcBef>
                <a:spcPts val="0"/>
              </a:spcBef>
              <a:buFontTx/>
              <a:buNone/>
              <a:defRPr sz="1200"/>
            </a:lvl1pPr>
            <a:lvl2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2pPr>
            <a:lvl3pPr marL="360363" indent="-161925">
              <a:lnSpc>
                <a:spcPts val="144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3pPr>
            <a:lvl4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4pPr>
            <a:lvl5pPr marL="0" indent="-162000">
              <a:lnSpc>
                <a:spcPts val="1440"/>
              </a:lnSpc>
              <a:spcBef>
                <a:spcPts val="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23303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62676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2349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768618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09085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555419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888721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623849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002241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925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B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20472" y="6597352"/>
            <a:ext cx="396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5AF66AA0-E37C-4065-8BE7-D4086C065B53}" type="slidenum">
              <a:rPr lang="fr-BE" smtClean="0"/>
              <a:pPr/>
              <a:t>‹#›</a:t>
            </a:fld>
            <a:endParaRPr lang="fr-BE"/>
          </a:p>
        </p:txBody>
      </p:sp>
      <p:sp>
        <p:nvSpPr>
          <p:cNvPr id="7" name="Rectangle 6"/>
          <p:cNvSpPr/>
          <p:nvPr/>
        </p:nvSpPr>
        <p:spPr>
          <a:xfrm>
            <a:off x="8928000" y="0"/>
            <a:ext cx="216000" cy="6858000"/>
          </a:xfrm>
          <a:prstGeom prst="rect">
            <a:avLst/>
          </a:prstGeom>
          <a:solidFill>
            <a:srgbClr val="00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r"/>
            <a:r>
              <a:rPr lang="fr-BE" sz="1800" dirty="0"/>
              <a:t>Formes et disponibilité</a:t>
            </a:r>
          </a:p>
        </p:txBody>
      </p:sp>
    </p:spTree>
    <p:extLst>
      <p:ext uri="{BB962C8B-B14F-4D97-AF65-F5344CB8AC3E}">
        <p14:creationId xmlns:p14="http://schemas.microsoft.com/office/powerpoint/2010/main" val="72528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006666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6666"/>
        </a:buClr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006666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lumbus.co.za/processes" TargetMode="External"/><Relationship Id="rId7" Type="http://schemas.openxmlformats.org/officeDocument/2006/relationships/hyperlink" Target="https://www.youtube.com/watch?v=HAeoDf6Ch_Q" TargetMode="External"/><Relationship Id="rId2" Type="http://schemas.openxmlformats.org/officeDocument/2006/relationships/hyperlink" Target="http://www.youtube.com/watch?v=5zwgI-pQ6k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youtube.com/watch?v=gcKB5vW2SbQ" TargetMode="External"/><Relationship Id="rId5" Type="http://schemas.openxmlformats.org/officeDocument/2006/relationships/hyperlink" Target="http://www.youtube.com/watch?v=_qb1_bdMC5o" TargetMode="External"/><Relationship Id="rId4" Type="http://schemas.openxmlformats.org/officeDocument/2006/relationships/hyperlink" Target="https://www.youtube.com/watch?v=AuuP8L-WppI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worldstainless.org/about-issf/issf-members/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noProof="0" dirty="0"/>
              <a:t>Support de cours pour enseignants d’Architecture et de Génie Civi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fr-FR" sz="4000" b="1" noProof="0" dirty="0">
                <a:solidFill>
                  <a:srgbClr val="006666"/>
                </a:solidFill>
              </a:rPr>
              <a:t>Module 10 :</a:t>
            </a:r>
          </a:p>
          <a:p>
            <a:r>
              <a:rPr lang="fr-FR" sz="4000" b="1" noProof="0" dirty="0">
                <a:solidFill>
                  <a:srgbClr val="006666"/>
                </a:solidFill>
              </a:rPr>
              <a:t>Formes et disponibilité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0264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600" noProof="0" dirty="0"/>
              <a:t>Pourquoi « Formes </a:t>
            </a:r>
            <a:r>
              <a:rPr lang="fr-FR" sz="3600" noProof="0"/>
              <a:t>et disponibilité » </a:t>
            </a:r>
            <a:r>
              <a:rPr lang="fr-FR" sz="3600" noProof="0" dirty="0"/>
              <a:t>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3568"/>
            <a:ext cx="8363272" cy="5257800"/>
          </a:xfrm>
        </p:spPr>
        <p:txBody>
          <a:bodyPr>
            <a:normAutofit fontScale="92500" lnSpcReduction="10000"/>
          </a:bodyPr>
          <a:lstStyle/>
          <a:p>
            <a:r>
              <a:rPr lang="fr-FR" noProof="0" dirty="0"/>
              <a:t>Le coût et les délais de livraison sont très importants pour les architectes &amp; les constructeurs</a:t>
            </a:r>
          </a:p>
          <a:p>
            <a:r>
              <a:rPr lang="fr-FR" noProof="0" dirty="0"/>
              <a:t>Alors que les produits en acier inoxydable sont fabriqués dans une aciérie :</a:t>
            </a:r>
          </a:p>
          <a:p>
            <a:pPr lvl="1"/>
            <a:r>
              <a:rPr lang="fr-FR" noProof="0" dirty="0"/>
              <a:t>Il existe ensuite diverses chaînes industrielles pour ces produits selon leur degré de transformation vers le produit fini</a:t>
            </a:r>
          </a:p>
          <a:p>
            <a:pPr lvl="1"/>
            <a:r>
              <a:rPr lang="fr-FR" noProof="0" dirty="0"/>
              <a:t>et les fournisseurs et négociants offrent tout un ensemble de services</a:t>
            </a:r>
          </a:p>
          <a:p>
            <a:r>
              <a:rPr lang="fr-FR" noProof="0" dirty="0"/>
              <a:t>Par conséquent, les coûts et les délais de livraison peuvent varier énormémen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2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455649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74638"/>
            <a:ext cx="8568952" cy="1143000"/>
          </a:xfrm>
        </p:spPr>
        <p:txBody>
          <a:bodyPr>
            <a:normAutofit fontScale="90000"/>
          </a:bodyPr>
          <a:lstStyle/>
          <a:p>
            <a:r>
              <a:rPr lang="fr-FR" noProof="0" dirty="0"/>
              <a:t>Quelques informations de base :</a:t>
            </a:r>
            <a:br>
              <a:rPr lang="fr-FR" noProof="0" dirty="0"/>
            </a:br>
            <a:r>
              <a:rPr lang="fr-FR" sz="4300" noProof="0" dirty="0"/>
              <a:t>la production de l’acier inoxydab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392288"/>
            <a:ext cx="8507288" cy="2980928"/>
          </a:xfrm>
        </p:spPr>
        <p:txBody>
          <a:bodyPr>
            <a:normAutofit fontScale="92500" lnSpcReduction="20000"/>
          </a:bodyPr>
          <a:lstStyle/>
          <a:p>
            <a:r>
              <a:rPr lang="fr-FR" noProof="0" dirty="0">
                <a:hlinkClick r:id="rId2"/>
              </a:rPr>
              <a:t>Vidéo</a:t>
            </a:r>
            <a:r>
              <a:rPr lang="fr-FR" noProof="0" dirty="0"/>
              <a:t> : Aciérie et laminage à chaud de bobines </a:t>
            </a:r>
          </a:p>
          <a:p>
            <a:r>
              <a:rPr lang="fr-FR" noProof="0" dirty="0">
                <a:hlinkClick r:id="rId3"/>
              </a:rPr>
              <a:t>Vidéo</a:t>
            </a:r>
            <a:r>
              <a:rPr lang="fr-FR" noProof="0" dirty="0"/>
              <a:t> : Laminage à froid de bobines</a:t>
            </a:r>
          </a:p>
          <a:p>
            <a:r>
              <a:rPr lang="fr-FR" dirty="0">
                <a:hlinkClick r:id="rId4"/>
              </a:rPr>
              <a:t>Vidéo</a:t>
            </a:r>
            <a:r>
              <a:rPr lang="fr-FR" dirty="0"/>
              <a:t>: Laminage à chaud de bobines</a:t>
            </a:r>
            <a:endParaRPr lang="fr-FR" noProof="0" dirty="0"/>
          </a:p>
          <a:p>
            <a:r>
              <a:rPr lang="fr-FR" noProof="0" dirty="0">
                <a:hlinkClick r:id="rId5"/>
              </a:rPr>
              <a:t>Vidéo</a:t>
            </a:r>
            <a:r>
              <a:rPr lang="fr-FR" noProof="0" dirty="0"/>
              <a:t> : Aciérie et formage à chaud de barres</a:t>
            </a:r>
          </a:p>
          <a:p>
            <a:r>
              <a:rPr lang="fr-FR" noProof="0" dirty="0">
                <a:hlinkClick r:id="rId6"/>
              </a:rPr>
              <a:t>Vidéo</a:t>
            </a:r>
            <a:r>
              <a:rPr lang="fr-FR" noProof="0" dirty="0"/>
              <a:t> : Laminage de fils machine</a:t>
            </a:r>
          </a:p>
          <a:p>
            <a:r>
              <a:rPr lang="fr-FR" noProof="0" dirty="0">
                <a:hlinkClick r:id="rId7"/>
              </a:rPr>
              <a:t>Vidéo</a:t>
            </a:r>
            <a:r>
              <a:rPr lang="fr-FR" noProof="0" dirty="0"/>
              <a:t> : Laminage de fils mach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3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10107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392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4739402" y="4833143"/>
            <a:ext cx="1558825" cy="68408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Distributeurs </a:t>
            </a:r>
          </a:p>
          <a:p>
            <a:pPr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(fabricant inclus)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800"/>
              <a:t>Chaîne logistique pour l’acier inoxydable</a:t>
            </a:r>
          </a:p>
        </p:txBody>
      </p:sp>
      <p:sp>
        <p:nvSpPr>
          <p:cNvPr id="4" name="AutoShape 4"/>
          <p:cNvSpPr>
            <a:spLocks noChangeArrowheads="1"/>
          </p:cNvSpPr>
          <p:nvPr/>
        </p:nvSpPr>
        <p:spPr bwMode="auto">
          <a:xfrm>
            <a:off x="3220497" y="4831793"/>
            <a:ext cx="1658682" cy="68543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Fabrication de composants standards</a:t>
            </a: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>
            <a:off x="3203847" y="1502036"/>
            <a:ext cx="1849653" cy="1266792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70000" anchor="ctr"/>
          <a:lstStyle/>
          <a:p>
            <a:pPr marL="174625" algn="l"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Distributeurs</a:t>
            </a:r>
          </a:p>
          <a:p>
            <a:pPr marL="174625"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(fabricant inclus)</a:t>
            </a:r>
          </a:p>
        </p:txBody>
      </p:sp>
      <p:sp>
        <p:nvSpPr>
          <p:cNvPr id="6" name="AutoShape 6"/>
          <p:cNvSpPr>
            <a:spLocks noChangeArrowheads="1"/>
          </p:cNvSpPr>
          <p:nvPr/>
        </p:nvSpPr>
        <p:spPr bwMode="auto">
          <a:xfrm>
            <a:off x="1673378" y="1502036"/>
            <a:ext cx="1733671" cy="1266792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Aciérie d’acier inoxydable</a:t>
            </a:r>
          </a:p>
          <a:p>
            <a:pPr algn="l"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Prix départ usine</a:t>
            </a: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3253501" y="2943000"/>
            <a:ext cx="1800000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fr-FR" sz="1000">
                <a:latin typeface="+mn-lt"/>
              </a:rPr>
              <a:t>Personnalisé : 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>
                <a:latin typeface="+mn-lt"/>
              </a:rPr>
              <a:t>Découpage à longueur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>
                <a:latin typeface="+mn-lt"/>
              </a:rPr>
              <a:t>Découpage à la forme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>
                <a:latin typeface="+mn-lt"/>
              </a:rPr>
              <a:t>Polissage…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392556" y="2943000"/>
            <a:ext cx="939084" cy="271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fr-FR" sz="1000" b="1">
                <a:latin typeface="+mn-lt"/>
              </a:rPr>
              <a:t>Produits</a:t>
            </a:r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auto">
          <a:xfrm>
            <a:off x="7947485" y="1409702"/>
            <a:ext cx="607538" cy="1846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33450">
              <a:buClrTx/>
            </a:pPr>
            <a:r>
              <a:rPr lang="fr-FR" sz="1200"/>
              <a:t>SIMPLIFIÉ</a:t>
            </a:r>
          </a:p>
        </p:txBody>
      </p:sp>
      <p:cxnSp>
        <p:nvCxnSpPr>
          <p:cNvPr id="19" name="AutoShape 5"/>
          <p:cNvCxnSpPr>
            <a:cxnSpLocks noChangeShapeType="1"/>
            <a:stCxn id="17" idx="2"/>
            <a:endCxn id="17" idx="0"/>
          </p:cNvCxnSpPr>
          <p:nvPr/>
        </p:nvCxnSpPr>
        <p:spPr bwMode="auto">
          <a:xfrm>
            <a:off x="7947485" y="1409702"/>
            <a:ext cx="607538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AutoShape 6"/>
          <p:cNvCxnSpPr>
            <a:cxnSpLocks noChangeShapeType="1"/>
            <a:stCxn id="17" idx="4"/>
            <a:endCxn id="17" idx="6"/>
          </p:cNvCxnSpPr>
          <p:nvPr/>
        </p:nvCxnSpPr>
        <p:spPr bwMode="auto">
          <a:xfrm>
            <a:off x="7947485" y="1594368"/>
            <a:ext cx="607538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 Box 9"/>
          <p:cNvSpPr txBox="1">
            <a:spLocks noChangeArrowheads="1"/>
          </p:cNvSpPr>
          <p:nvPr/>
        </p:nvSpPr>
        <p:spPr bwMode="auto">
          <a:xfrm>
            <a:off x="1604275" y="2943000"/>
            <a:ext cx="1667342" cy="719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Bobines, tôles, plaques 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Barres, fils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Rond à Béton</a:t>
            </a:r>
          </a:p>
        </p:txBody>
      </p:sp>
      <p:sp>
        <p:nvSpPr>
          <p:cNvPr id="32" name="Text Box 9"/>
          <p:cNvSpPr txBox="1">
            <a:spLocks noChangeArrowheads="1"/>
          </p:cNvSpPr>
          <p:nvPr/>
        </p:nvSpPr>
        <p:spPr bwMode="auto">
          <a:xfrm>
            <a:off x="3203848" y="5661248"/>
            <a:ext cx="1667342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fr-FR" sz="1000">
                <a:latin typeface="+mn-lt"/>
              </a:rPr>
              <a:t>Fixations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>
                <a:latin typeface="+mn-lt"/>
              </a:rPr>
              <a:t>Tubes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>
                <a:latin typeface="+mn-lt"/>
              </a:rPr>
              <a:t>Robinetterie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>
                <a:latin typeface="+mn-lt"/>
              </a:rPr>
              <a:t>Accessoires de tuyauterie</a:t>
            </a:r>
          </a:p>
        </p:txBody>
      </p:sp>
      <p:sp>
        <p:nvSpPr>
          <p:cNvPr id="33" name="Text Box 10"/>
          <p:cNvSpPr txBox="1">
            <a:spLocks noChangeArrowheads="1"/>
          </p:cNvSpPr>
          <p:nvPr/>
        </p:nvSpPr>
        <p:spPr bwMode="auto">
          <a:xfrm>
            <a:off x="392556" y="3717032"/>
            <a:ext cx="939084" cy="260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fr-FR" sz="1000" b="1">
                <a:latin typeface="+mn-lt"/>
              </a:rPr>
              <a:t>Services</a:t>
            </a:r>
          </a:p>
        </p:txBody>
      </p:sp>
      <p:sp>
        <p:nvSpPr>
          <p:cNvPr id="38" name="Text Box 9"/>
          <p:cNvSpPr txBox="1">
            <a:spLocks noChangeArrowheads="1"/>
          </p:cNvSpPr>
          <p:nvPr/>
        </p:nvSpPr>
        <p:spPr bwMode="auto">
          <a:xfrm>
            <a:off x="1604275" y="3717032"/>
            <a:ext cx="1733671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Poids minimum 1 bloom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Production sur commande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Délai mini 2 à 3 semaines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Prix minimal /kg</a:t>
            </a:r>
          </a:p>
        </p:txBody>
      </p:sp>
      <p:sp>
        <p:nvSpPr>
          <p:cNvPr id="39" name="Text Box 9"/>
          <p:cNvSpPr txBox="1">
            <a:spLocks noChangeArrowheads="1"/>
          </p:cNvSpPr>
          <p:nvPr/>
        </p:nvSpPr>
        <p:spPr bwMode="auto">
          <a:xfrm>
            <a:off x="3253500" y="3717032"/>
            <a:ext cx="2254603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Petites commandes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Disponible sur stock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Temps de livraison court (1 à 3 jours)</a:t>
            </a:r>
          </a:p>
          <a:p>
            <a:pPr algn="l"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Prix majoré pour le service </a:t>
            </a:r>
          </a:p>
        </p:txBody>
      </p:sp>
      <p:sp>
        <p:nvSpPr>
          <p:cNvPr id="40" name="Text Box 9"/>
          <p:cNvSpPr txBox="1">
            <a:spLocks noChangeArrowheads="1"/>
          </p:cNvSpPr>
          <p:nvPr/>
        </p:nvSpPr>
        <p:spPr bwMode="auto">
          <a:xfrm>
            <a:off x="4739402" y="5661248"/>
            <a:ext cx="2280870" cy="72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Disponible sur stock</a:t>
            </a:r>
          </a:p>
          <a:p>
            <a:pPr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Personnalisation </a:t>
            </a:r>
          </a:p>
          <a:p>
            <a:pPr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Temps de livraison court (1 à 3 jours)</a:t>
            </a:r>
          </a:p>
          <a:p>
            <a:pPr eaLnBrk="1" hangingPunct="1">
              <a:lnSpc>
                <a:spcPts val="1440"/>
              </a:lnSpc>
            </a:pPr>
            <a:r>
              <a:rPr lang="fr-FR" sz="1000" dirty="0">
                <a:latin typeface="+mn-lt"/>
              </a:rPr>
              <a:t>Prix majoré pour le service</a:t>
            </a:r>
          </a:p>
        </p:txBody>
      </p:sp>
      <p:sp>
        <p:nvSpPr>
          <p:cNvPr id="42" name="AutoShape 5"/>
          <p:cNvSpPr>
            <a:spLocks noChangeArrowheads="1"/>
          </p:cNvSpPr>
          <p:nvPr/>
        </p:nvSpPr>
        <p:spPr bwMode="auto">
          <a:xfrm>
            <a:off x="6300192" y="2943001"/>
            <a:ext cx="2088232" cy="1480248"/>
          </a:xfrm>
          <a:prstGeom prst="homePlate">
            <a:avLst>
              <a:gd name="adj" fmla="val 16729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70000" anchor="ctr"/>
          <a:lstStyle/>
          <a:p>
            <a:pPr marL="174625" algn="l"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Fabricants</a:t>
            </a:r>
          </a:p>
          <a:p>
            <a:pPr marL="174625" algn="l"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+ </a:t>
            </a:r>
          </a:p>
          <a:p>
            <a:pPr marL="174625" algn="l"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Finitions spécifiques</a:t>
            </a:r>
          </a:p>
          <a:p>
            <a:pPr marL="174625" algn="l"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(couleur par exemple)</a:t>
            </a:r>
          </a:p>
        </p:txBody>
      </p:sp>
      <p:sp>
        <p:nvSpPr>
          <p:cNvPr id="43" name="Text Box 10"/>
          <p:cNvSpPr txBox="1">
            <a:spLocks noChangeArrowheads="1"/>
          </p:cNvSpPr>
          <p:nvPr/>
        </p:nvSpPr>
        <p:spPr bwMode="auto">
          <a:xfrm>
            <a:off x="3220497" y="5501786"/>
            <a:ext cx="939084" cy="260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fr-FR" sz="1000" b="1">
                <a:latin typeface="+mn-lt"/>
              </a:rPr>
              <a:t>Produits</a:t>
            </a: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4821979" y="5501786"/>
            <a:ext cx="939084" cy="260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algn="l" eaLnBrk="1" hangingPunct="1">
              <a:lnSpc>
                <a:spcPts val="1440"/>
              </a:lnSpc>
              <a:buClrTx/>
            </a:pPr>
            <a:r>
              <a:rPr lang="fr-FR" sz="1000" b="1">
                <a:latin typeface="+mn-lt"/>
              </a:rPr>
              <a:t>Service</a:t>
            </a:r>
          </a:p>
        </p:txBody>
      </p:sp>
      <p:sp>
        <p:nvSpPr>
          <p:cNvPr id="45" name="AutoShape 4"/>
          <p:cNvSpPr>
            <a:spLocks noChangeArrowheads="1"/>
          </p:cNvSpPr>
          <p:nvPr/>
        </p:nvSpPr>
        <p:spPr bwMode="auto">
          <a:xfrm>
            <a:off x="1670604" y="4833143"/>
            <a:ext cx="1658682" cy="685439"/>
          </a:xfrm>
          <a:prstGeom prst="homePlate">
            <a:avLst>
              <a:gd name="adj" fmla="val 19122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234000" anchor="ctr"/>
          <a:lstStyle/>
          <a:p>
            <a:pPr algn="l" defTabSz="912813">
              <a:lnSpc>
                <a:spcPts val="1440"/>
              </a:lnSpc>
            </a:pPr>
            <a:r>
              <a:rPr lang="fr-FR" sz="1200" b="1">
                <a:solidFill>
                  <a:schemeClr val="bg1"/>
                </a:solidFill>
              </a:rPr>
              <a:t>Aciérie d’acier inoxydab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602502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720080"/>
          </a:xfrm>
        </p:spPr>
        <p:txBody>
          <a:bodyPr>
            <a:normAutofit/>
          </a:bodyPr>
          <a:lstStyle/>
          <a:p>
            <a:r>
              <a:rPr lang="fr-FR" sz="2800" noProof="0"/>
              <a:t>Produits plat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81528210"/>
              </p:ext>
            </p:extLst>
          </p:nvPr>
        </p:nvGraphicFramePr>
        <p:xfrm>
          <a:off x="446856" y="836712"/>
          <a:ext cx="8229600" cy="58990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425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7268">
                <a:tc>
                  <a:txBody>
                    <a:bodyPr/>
                    <a:lstStyle/>
                    <a:p>
                      <a:r>
                        <a:rPr lang="fr-FR" noProof="0" dirty="0">
                          <a:solidFill>
                            <a:schemeClr val="tx1"/>
                          </a:solidFill>
                        </a:rPr>
                        <a:t>Départ usin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FR" noProof="0" dirty="0">
                          <a:solidFill>
                            <a:schemeClr val="tx1"/>
                          </a:solidFill>
                        </a:rPr>
                        <a:t>Clientèl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1560">
                <a:tc>
                  <a:txBody>
                    <a:bodyPr/>
                    <a:lstStyle/>
                    <a:p>
                      <a:endParaRPr lang="fr-FR" sz="1400" noProof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fr-FR" sz="1400" noProof="0" dirty="0">
                          <a:solidFill>
                            <a:schemeClr val="tx1"/>
                          </a:solidFill>
                        </a:rPr>
                        <a:t>Bobines laminées à froi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sz="1400" noProof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fr-FR" sz="1400" noProof="0" dirty="0">
                          <a:solidFill>
                            <a:schemeClr val="tx1"/>
                          </a:solidFill>
                        </a:rPr>
                        <a:t>Bandes</a:t>
                      </a:r>
                      <a:r>
                        <a:rPr lang="fr-FR" sz="1400" baseline="0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FR" sz="1400" noProof="0" dirty="0">
                          <a:solidFill>
                            <a:schemeClr val="tx1"/>
                          </a:solidFill>
                        </a:rPr>
                        <a:t>laminées </a:t>
                      </a:r>
                      <a:r>
                        <a:rPr lang="fr-FR" sz="1400" baseline="0" noProof="0" dirty="0">
                          <a:solidFill>
                            <a:schemeClr val="tx1"/>
                          </a:solidFill>
                        </a:rPr>
                        <a:t>à froid</a:t>
                      </a:r>
                      <a:endParaRPr lang="fr-FR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noProof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noProof="0" dirty="0">
                          <a:solidFill>
                            <a:schemeClr val="tx1"/>
                          </a:solidFill>
                        </a:rPr>
                        <a:t>Tôles polies laminées à froi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400" noProof="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noProof="0" dirty="0">
                          <a:solidFill>
                            <a:schemeClr val="tx1"/>
                          </a:solidFill>
                        </a:rPr>
                        <a:t>Découpes las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03532">
                <a:tc>
                  <a:txBody>
                    <a:bodyPr/>
                    <a:lstStyle/>
                    <a:p>
                      <a:endParaRPr lang="fr-FR" sz="14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sz="14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sz="14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2378">
                <a:tc>
                  <a:txBody>
                    <a:bodyPr/>
                    <a:lstStyle/>
                    <a:p>
                      <a:endParaRPr lang="fr-FR" sz="1400" noProof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fr-FR" sz="1400" noProof="0" dirty="0">
                          <a:solidFill>
                            <a:schemeClr val="tx1"/>
                          </a:solidFill>
                        </a:rPr>
                        <a:t>Plaqu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noProof="0" dirty="0">
                          <a:solidFill>
                            <a:schemeClr val="tx1"/>
                          </a:solidFill>
                        </a:rPr>
                        <a:t>Profils</a:t>
                      </a:r>
                      <a:r>
                        <a:rPr lang="fr-FR" sz="1400" baseline="0" noProof="0" dirty="0">
                          <a:solidFill>
                            <a:schemeClr val="tx1"/>
                          </a:solidFill>
                        </a:rPr>
                        <a:t> en I à partir de plaques</a:t>
                      </a:r>
                      <a:endParaRPr lang="fr-FR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noProof="0" dirty="0">
                          <a:solidFill>
                            <a:schemeClr val="tx1"/>
                          </a:solidFill>
                        </a:rPr>
                        <a:t>Profilés de portes</a:t>
                      </a:r>
                      <a:r>
                        <a:rPr lang="fr-FR" sz="1400" baseline="0" noProof="0" dirty="0">
                          <a:solidFill>
                            <a:schemeClr val="tx1"/>
                          </a:solidFill>
                        </a:rPr>
                        <a:t> et de fenêtres</a:t>
                      </a:r>
                      <a:endParaRPr lang="fr-FR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sz="1400" noProof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fr-FR" sz="1400" noProof="0" dirty="0">
                          <a:solidFill>
                            <a:schemeClr val="tx1"/>
                          </a:solidFill>
                        </a:rPr>
                        <a:t>Fixation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40503">
                <a:tc>
                  <a:txBody>
                    <a:bodyPr/>
                    <a:lstStyle/>
                    <a:p>
                      <a:endParaRPr lang="fr-FR" sz="14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sz="14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sz="14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sz="14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2378">
                <a:tc>
                  <a:txBody>
                    <a:bodyPr/>
                    <a:lstStyle/>
                    <a:p>
                      <a:r>
                        <a:rPr lang="fr-FR" sz="1400" noProof="0">
                          <a:solidFill>
                            <a:schemeClr val="tx1"/>
                          </a:solidFill>
                        </a:rPr>
                        <a:t>Tubes standard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noProof="0">
                          <a:solidFill>
                            <a:schemeClr val="tx1"/>
                          </a:solidFill>
                        </a:rPr>
                        <a:t>Tubes profilé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noProof="0">
                          <a:solidFill>
                            <a:schemeClr val="tx1"/>
                          </a:solidFill>
                        </a:rPr>
                        <a:t>Raccords</a:t>
                      </a:r>
                      <a:r>
                        <a:rPr lang="fr-FR" sz="1400" baseline="0" noProof="0">
                          <a:solidFill>
                            <a:schemeClr val="tx1"/>
                          </a:solidFill>
                        </a:rPr>
                        <a:t> de tuyauterie</a:t>
                      </a:r>
                      <a:endParaRPr lang="fr-FR" sz="14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noProof="0" dirty="0">
                          <a:solidFill>
                            <a:schemeClr val="tx1"/>
                          </a:solidFill>
                        </a:rPr>
                        <a:t>Garde-corp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55651">
                <a:tc>
                  <a:txBody>
                    <a:bodyPr/>
                    <a:lstStyle/>
                    <a:p>
                      <a:endParaRPr lang="fr-FR" sz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sz="1200" noProof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FR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6" name="Picture 9" descr="https://encrypted-tbn3.gstatic.com/images?q=tbn:ANd9GcRkQDDpGa7dCHADGiIncghtrM7C7M92gTs2_pSqgwh79u-Y46ps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552" y="1772817"/>
            <a:ext cx="1441579" cy="1224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8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944" y="1772817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2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9194" y="1772817"/>
            <a:ext cx="1655254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" name="Picture 20" descr="http://www.stlpipesupply.com/wp-content/uploads/2012/03/Polished-Stainless-Steel-Sheet-316L.jpeg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3717169"/>
            <a:ext cx="1440000" cy="12240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4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8" r="8442"/>
          <a:stretch/>
        </p:blipFill>
        <p:spPr bwMode="auto">
          <a:xfrm>
            <a:off x="6949194" y="3717169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" name="Picture 3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27"/>
          <a:stretch/>
        </p:blipFill>
        <p:spPr bwMode="auto">
          <a:xfrm>
            <a:off x="2627944" y="3717169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48" r="1276"/>
          <a:stretch/>
        </p:blipFill>
        <p:spPr bwMode="auto">
          <a:xfrm>
            <a:off x="539552" y="5472000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9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44008" y="5472000"/>
            <a:ext cx="2064464" cy="122712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12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27944" y="5472000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" name="Picture 33"/>
          <p:cNvPicPr>
            <a:picLocks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2"/>
          <a:stretch/>
        </p:blipFill>
        <p:spPr bwMode="auto">
          <a:xfrm>
            <a:off x="6949194" y="5472000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" name="Picture 1"/>
          <p:cNvPicPr>
            <a:picLocks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44008" y="1772817"/>
            <a:ext cx="1440000" cy="1224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717169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9067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073551"/>
              </p:ext>
            </p:extLst>
          </p:nvPr>
        </p:nvGraphicFramePr>
        <p:xfrm>
          <a:off x="457838" y="836712"/>
          <a:ext cx="8330212" cy="56529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819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98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4133">
                <a:tc>
                  <a:txBody>
                    <a:bodyPr/>
                    <a:lstStyle/>
                    <a:p>
                      <a:r>
                        <a:rPr lang="fr-BE" sz="1800" dirty="0">
                          <a:solidFill>
                            <a:schemeClr val="tx1"/>
                          </a:solidFill>
                        </a:rPr>
                        <a:t>Départ</a:t>
                      </a:r>
                      <a:r>
                        <a:rPr lang="fr-BE" sz="1800" baseline="0" dirty="0">
                          <a:solidFill>
                            <a:schemeClr val="tx1"/>
                          </a:solidFill>
                        </a:rPr>
                        <a:t> usine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FR" noProof="0" dirty="0">
                          <a:solidFill>
                            <a:schemeClr val="tx1"/>
                          </a:solidFill>
                        </a:rPr>
                        <a:t>Clientèle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945"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Barr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Tirant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Tiges fileté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Poigné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40162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3074"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Rond à Béton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Câbl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Ancrages béton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</a:rPr>
                        <a:t>Brise-solei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45272"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293">
                <a:tc>
                  <a:txBody>
                    <a:bodyPr/>
                    <a:lstStyle/>
                    <a:p>
                      <a:endParaRPr lang="fr-BE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Fil machin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r-BE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Maill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BE" sz="14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Fixation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400" dirty="0">
                          <a:solidFill>
                            <a:schemeClr val="tx1"/>
                          </a:solidFill>
                        </a:rPr>
                        <a:t>Rideaux</a:t>
                      </a:r>
                      <a:r>
                        <a:rPr lang="fr-BE" sz="1400" baseline="0" dirty="0">
                          <a:solidFill>
                            <a:schemeClr val="tx1"/>
                          </a:solidFill>
                        </a:rPr>
                        <a:t> de douche en mailles tissé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46215"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720080"/>
          </a:xfrm>
        </p:spPr>
        <p:txBody>
          <a:bodyPr>
            <a:normAutofit/>
          </a:bodyPr>
          <a:lstStyle/>
          <a:p>
            <a:r>
              <a:rPr lang="fr-FR" sz="2800" noProof="0"/>
              <a:t>Produits longs</a:t>
            </a:r>
          </a:p>
        </p:txBody>
      </p:sp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437" y="5301344"/>
            <a:ext cx="2014353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60" name="Picture 12"/>
          <p:cNvPicPr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660232" y="530134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2" name="Picture 3"/>
          <p:cNvPicPr>
            <a:picLocks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712" y="335712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" name="Picture 6"/>
          <p:cNvPicPr>
            <a:picLocks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9712" y="158552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4" name="Picture 9"/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831"/>
          <a:stretch/>
        </p:blipFill>
        <p:spPr bwMode="auto">
          <a:xfrm>
            <a:off x="539712" y="530134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5" name="Picture 11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83768" y="5301344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6" name="Picture 15"/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83768" y="158552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437" y="3357128"/>
            <a:ext cx="1238866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" name="Picture 17"/>
          <p:cNvPicPr>
            <a:picLocks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24"/>
          <a:stretch/>
        </p:blipFill>
        <p:spPr bwMode="auto">
          <a:xfrm>
            <a:off x="2483768" y="3357128"/>
            <a:ext cx="1440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9" name="Picture 2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437" y="1585528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" name="Picture 21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660232" y="1585528"/>
            <a:ext cx="2081665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1" name="Picture 2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3357128"/>
            <a:ext cx="1224000" cy="122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6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280816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600" noProof="0"/>
              <a:t>Tendances futur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781128"/>
          </a:xfrm>
        </p:spPr>
        <p:txBody>
          <a:bodyPr>
            <a:normAutofit fontScale="92500"/>
          </a:bodyPr>
          <a:lstStyle/>
          <a:p>
            <a:pPr marL="0" indent="0" algn="just">
              <a:buNone/>
            </a:pPr>
            <a:r>
              <a:rPr lang="fr-FR" sz="2400" noProof="0" dirty="0"/>
              <a:t>L’urgence d’atténuer les effets du changement climatique et de développer l’économie durable vont conduire à des changements dans les années à venir. </a:t>
            </a:r>
          </a:p>
          <a:p>
            <a:pPr algn="just"/>
            <a:endParaRPr lang="fr-FR" sz="2400" noProof="0" dirty="0"/>
          </a:p>
          <a:p>
            <a:pPr marL="0" indent="0" algn="just">
              <a:buNone/>
            </a:pPr>
            <a:r>
              <a:rPr lang="fr-FR" sz="2400" u="sng" noProof="0" dirty="0"/>
              <a:t>L’offre de nouveaux produits devrait apparaître :</a:t>
            </a:r>
          </a:p>
          <a:p>
            <a:pPr algn="just"/>
            <a:r>
              <a:rPr lang="fr-FR" sz="2400" noProof="0" dirty="0"/>
              <a:t>Produits reconditionnés. Les aciers inoxydables issus de la déconstruction des bâtiments/équipements devraient être retraités puis rendus disponibles pour une </a:t>
            </a:r>
            <a:r>
              <a:rPr lang="fr-FR" sz="2400" noProof="0"/>
              <a:t>nouvelle utilisation </a:t>
            </a:r>
            <a:r>
              <a:rPr lang="fr-FR" sz="2400" noProof="0" dirty="0"/>
              <a:t>sans perte de caractéristiques mécaniques.</a:t>
            </a:r>
          </a:p>
          <a:p>
            <a:pPr algn="just"/>
            <a:r>
              <a:rPr lang="fr-FR" sz="2400" noProof="0" dirty="0"/>
              <a:t>Nouveaux produits plus minces et à résistance mécanique plus élevée, capables d’offrir la même performance de service avec moins de matière. Le développement des nuances « Lean Duplex » et des nuances austénitiques laminées à froid est déjà une réalité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592148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/>
              <a:t>Réfé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err="1"/>
              <a:t>Producteurs</a:t>
            </a:r>
            <a:r>
              <a:rPr lang="en-US" dirty="0"/>
              <a:t> principals de </a:t>
            </a:r>
            <a:r>
              <a:rPr lang="en-US" dirty="0" err="1"/>
              <a:t>l’acier</a:t>
            </a:r>
            <a:r>
              <a:rPr lang="en-US" dirty="0"/>
              <a:t> </a:t>
            </a:r>
            <a:r>
              <a:rPr lang="en-US" dirty="0" err="1"/>
              <a:t>inoxidable</a:t>
            </a:r>
            <a:r>
              <a:rPr lang="en-US" dirty="0"/>
              <a:t>: </a:t>
            </a:r>
            <a:endParaRPr lang="en-GB" dirty="0"/>
          </a:p>
          <a:p>
            <a:pPr marL="0" indent="0">
              <a:buNone/>
            </a:pPr>
            <a:r>
              <a:rPr lang="fr-FR" dirty="0">
                <a:hlinkClick r:id="rId2"/>
              </a:rPr>
              <a:t>https://www.worldstainless.org/about-issf/issf-members/</a:t>
            </a:r>
            <a:endParaRPr lang="fr-F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8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081305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noProof="0"/>
              <a:t>Merci !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F66AA0-E37C-4065-8BE7-D4086C065B53}" type="slidenum">
              <a:rPr lang="fr-BE" smtClean="0"/>
              <a:pPr/>
              <a:t>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73817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niversity Lectures Chapter 0 Contents</Template>
  <TotalTime>729</TotalTime>
  <Words>462</Words>
  <Application>Microsoft Office PowerPoint</Application>
  <PresentationFormat>On-screen Show (4:3)</PresentationFormat>
  <Paragraphs>118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Lucida Grande</vt:lpstr>
      <vt:lpstr>Wingdings</vt:lpstr>
      <vt:lpstr>3_Custom Design</vt:lpstr>
      <vt:lpstr>think-cell Folie</vt:lpstr>
      <vt:lpstr>Support de cours pour enseignants d’Architecture et de Génie Civil</vt:lpstr>
      <vt:lpstr>Pourquoi « Formes et disponibilité » ?</vt:lpstr>
      <vt:lpstr>Quelques informations de base : la production de l’acier inoxydable</vt:lpstr>
      <vt:lpstr>Chaîne logistique pour l’acier inoxydable</vt:lpstr>
      <vt:lpstr>Produits plats</vt:lpstr>
      <vt:lpstr>Produits longs</vt:lpstr>
      <vt:lpstr>Tendances futures</vt:lpstr>
      <vt:lpstr>Références</vt:lpstr>
      <vt:lpstr>Merci 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iers inoxydables : Formes et disponibilité</dc:title>
  <dc:creator>Bernard HÉRITIER</dc:creator>
  <cp:keywords>Aciers inoxydables, cours, architectes, ingénieurs</cp:keywords>
  <dc:description>Traduction française : Jean-Pierre MUZEAU (APK)
Vérification : Joëlle PONTET (APERAM) et Bernard HÉRITIER (ISSF)</dc:description>
  <cp:lastModifiedBy>Jo Claes</cp:lastModifiedBy>
  <cp:revision>217</cp:revision>
  <cp:lastPrinted>2014-02-27T12:04:59Z</cp:lastPrinted>
  <dcterms:created xsi:type="dcterms:W3CDTF">2013-11-27T08:48:07Z</dcterms:created>
  <dcterms:modified xsi:type="dcterms:W3CDTF">2020-01-30T14:37:00Z</dcterms:modified>
</cp:coreProperties>
</file>